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>
        <p:scale>
          <a:sx n="75" d="100"/>
          <a:sy n="75" d="100"/>
        </p:scale>
        <p:origin x="974" y="27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31834" y="3100390"/>
            <a:ext cx="3943804" cy="3598860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GIG MANAGEMENT SYSTEM</a:t>
            </a:r>
          </a:p>
          <a:p>
            <a:pPr marL="64770" marR="22860">
              <a:lnSpc>
                <a:spcPct val="112000"/>
              </a:lnSpc>
              <a:spcAft>
                <a:spcPts val="0"/>
              </a:spcAft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develop a user interface for the GIG Management system. This is a mini social network that makes it really easy for live music lovers to track the gigs of their favorite artists.</a:t>
            </a: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ea typeface="Verdana" panose="020B0604030504040204" pitchFamily="34" charset="0"/>
              </a:rPr>
              <a:t>C#,SQL,ASP.NET MVC,ASP.NET CORE API, ENTITY FRAMEWORK, CONSOLE APPLICATION in visual studio.</a:t>
            </a:r>
            <a:endParaRPr lang="en-IN" altLang="nl-NL" sz="1100" b="1" dirty="0"/>
          </a:p>
          <a:p>
            <a:pPr marR="179705">
              <a:lnSpc>
                <a:spcPct val="112000"/>
              </a:lnSpc>
            </a:pPr>
            <a:r>
              <a:rPr lang="en-US" sz="11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ed and completed all the concepts of Frontend, Middleware, and Backend at Capgemini L&amp;D Training Platform.                                                                                   </a:t>
            </a:r>
            <a:endParaRPr lang="en-IN" sz="11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Azmeera.sravan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915489977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0871" y="3169047"/>
            <a:ext cx="4057650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Has working knowledge of C#, SQL, Entity Framework,  ASP.NET in visual studio, and Java on an intermediate</a:t>
            </a:r>
            <a:r>
              <a:rPr lang="en-US" sz="1100" spc="3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 </a:t>
            </a: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level.</a:t>
            </a:r>
            <a:endParaRPr lang="en-IN" sz="1100" dirty="0">
              <a:effectLst/>
              <a:latin typeface="Verdana" panose="020B0604030504040204" pitchFamily="34" charset="0"/>
              <a:ea typeface="Arial" panose="020B0604020202020204" pitchFamily="34" charset="0"/>
              <a:cs typeface="Verdana" panose="020B0604030504040204" pitchFamily="34" charset="0"/>
            </a:endParaRP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echanical Engineering: 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C#</a:t>
            </a: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.NET Entity Framework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ML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P.NET MVC</a:t>
            </a:r>
            <a:r>
              <a: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 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 API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IN" sz="1000" dirty="0"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ole application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AZMEERA SRAVAN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24804E7-BFB7-09EF-35CD-EFD7B524128C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94" b="10994"/>
          <a:stretch>
            <a:fillRect/>
          </a:stretch>
        </p:blipFill>
        <p:spPr>
          <a:xfrm>
            <a:off x="455476" y="326397"/>
            <a:ext cx="1729191" cy="1730607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475</TotalTime>
  <Words>237</Words>
  <Application>Microsoft Office PowerPoint</Application>
  <PresentationFormat>Widescreen</PresentationFormat>
  <Paragraphs>6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azmeera sravan</cp:lastModifiedBy>
  <cp:revision>111</cp:revision>
  <dcterms:created xsi:type="dcterms:W3CDTF">2017-12-08T05:27:40Z</dcterms:created>
  <dcterms:modified xsi:type="dcterms:W3CDTF">2022-05-05T12:2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